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22"/>
  </p:notesMasterIdLst>
  <p:sldIdLst>
    <p:sldId id="269" r:id="rId8"/>
    <p:sldId id="297" r:id="rId9"/>
    <p:sldId id="266" r:id="rId10"/>
    <p:sldId id="441" r:id="rId11"/>
    <p:sldId id="443" r:id="rId12"/>
    <p:sldId id="442" r:id="rId13"/>
    <p:sldId id="436" r:id="rId14"/>
    <p:sldId id="438" r:id="rId15"/>
    <p:sldId id="419" r:id="rId16"/>
    <p:sldId id="427" r:id="rId17"/>
    <p:sldId id="437" r:id="rId18"/>
    <p:sldId id="440" r:id="rId19"/>
    <p:sldId id="439" r:id="rId20"/>
    <p:sldId id="444" r:id="rId21"/>
  </p:sldIdLst>
  <p:sldSz cx="9144000" cy="6858000" type="screen4x3"/>
  <p:notesSz cx="6735763" cy="9866313"/>
  <p:custDataLst>
    <p:tags r:id="rId23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9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FFFFCC"/>
    <a:srgbClr val="007864"/>
    <a:srgbClr val="FFFFFF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69" autoAdjust="0"/>
    <p:restoredTop sz="86780" autoAdjust="0"/>
  </p:normalViewPr>
  <p:slideViewPr>
    <p:cSldViewPr snapToGrid="0" snapToObjects="1">
      <p:cViewPr varScale="1">
        <p:scale>
          <a:sx n="109" d="100"/>
          <a:sy n="109" d="100"/>
        </p:scale>
        <p:origin x="180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9D70A2-48B3-8C49-94CE-6C7B60AB59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350270F-0AB9-A013-F4B3-43C20E019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166210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66FA9A9-DFC4-BFB5-06AF-BF4C864D81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937238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36FEFA8-EAA5-A920-F59F-55715E4322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79943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A8B4466-4A4B-5808-6B68-F9CB1B1AA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912400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BA22EFC-2731-6783-EA5C-60C0CD4291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78809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8B59395-7EA9-0490-0CC0-7D93E116AA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4655D94-C25B-8B69-E6A9-C7F1E04DFC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D113A11-BE63-3311-C2AF-3FF1395F2C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30306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2E6B405-19B4-B3BD-BA65-0823E1FC4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88405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6E451E9-EE10-E787-8BA8-B414B1FEC45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99881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322B7D3-184B-8209-20B8-148BEB28DD8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26804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ACA3ED5-C561-B624-869A-16837C31B3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057219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424C983-BD8D-A4F3-606C-7FD43843DE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4014" userDrawn="1">
          <p15:clr>
            <a:srgbClr val="FBAE40"/>
          </p15:clr>
        </p15:guide>
        <p15:guide id="33" pos="3107" userDrawn="1">
          <p15:clr>
            <a:srgbClr val="FBAE40"/>
          </p15:clr>
        </p15:guide>
        <p15:guide id="34" pos="457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1EA0F4DE-D5EF-4D79-AB29-42F50DC432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9175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1EA0F4DE-D5EF-4D79-AB29-42F50DC432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D5B86DF1-F08D-48F6-B16C-C943DC608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7088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D5B86DF1-F08D-48F6-B16C-C943DC608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E337DD21-3960-4838-9E9B-6B146EDBE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6744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E337DD21-3960-4838-9E9B-6B146EDBE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4/10/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26.png"/><Relationship Id="rId12" Type="http://schemas.openxmlformats.org/officeDocument/2006/relationships/image" Target="../media/image29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5.png"/><Relationship Id="rId11" Type="http://schemas.openxmlformats.org/officeDocument/2006/relationships/image" Target="../media/image28.png"/><Relationship Id="rId5" Type="http://schemas.openxmlformats.org/officeDocument/2006/relationships/image" Target="../media/image24.png"/><Relationship Id="rId10" Type="http://schemas.openxmlformats.org/officeDocument/2006/relationships/image" Target="../media/image27.png"/><Relationship Id="rId4" Type="http://schemas.openxmlformats.org/officeDocument/2006/relationships/image" Target="../media/image23.png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31.png"/><Relationship Id="rId5" Type="http://schemas.openxmlformats.org/officeDocument/2006/relationships/image" Target="../media/image24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4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24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219468" y="2045402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アプリの追加の仕方</a:t>
            </a:r>
            <a:endParaRPr lang="ja-JP" altLang="en-US" sz="5400" dirty="0">
              <a:solidFill>
                <a:schemeClr val="bg1"/>
              </a:solidFill>
            </a:endParaRP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図形グループ 3"/>
          <p:cNvGrpSpPr/>
          <p:nvPr/>
        </p:nvGrpSpPr>
        <p:grpSpPr>
          <a:xfrm>
            <a:off x="518390" y="198514"/>
            <a:ext cx="2333816" cy="813477"/>
            <a:chOff x="518390" y="198514"/>
            <a:chExt cx="2333816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22170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r>
                <a:rPr lang="ja-JP" altLang="en-US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｜</a:t>
              </a:r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iPhone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223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EAA9596-6ED1-4E3F-8A90-C3CC58B47B73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9A2AECA-EFA3-DD05-4040-98F5C7433783}"/>
              </a:ext>
            </a:extLst>
          </p:cNvPr>
          <p:cNvSpPr/>
          <p:nvPr/>
        </p:nvSpPr>
        <p:spPr>
          <a:xfrm>
            <a:off x="742687" y="4028187"/>
            <a:ext cx="504000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6" name="object 7">
            <a:extLst>
              <a:ext uri="{FF2B5EF4-FFF2-40B4-BE49-F238E27FC236}">
                <a16:creationId xmlns:a16="http://schemas.microsoft.com/office/drawing/2014/main" id="{BBB0F5C8-5391-B2F2-BE3C-791671245F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1837331"/>
              </p:ext>
            </p:extLst>
          </p:nvPr>
        </p:nvGraphicFramePr>
        <p:xfrm>
          <a:off x="738744" y="4020808"/>
          <a:ext cx="5040000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3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7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3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イコン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App Store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行き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を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ンストールしてみましょう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App Store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iOS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kumimoji="1"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Ver.16.4.1</a:t>
                      </a:r>
                      <a:endParaRPr kumimoji="1" lang="ja-JP" altLang="en-US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無料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8" name="図 7" descr="「App Store（アップストア）」のアイコンの画像">
            <a:extLst>
              <a:ext uri="{FF2B5EF4-FFF2-40B4-BE49-F238E27FC236}">
                <a16:creationId xmlns:a16="http://schemas.microsoft.com/office/drawing/2014/main" id="{8A7D4802-BE6D-B69B-593A-5AFEF5B63D1B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2080" y="4467870"/>
            <a:ext cx="822335" cy="85521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103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pp Store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らアプリをインストールしましょう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561435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App Store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らインストール</a:t>
            </a:r>
            <a:endParaRPr kumimoji="0" lang="ja-JP" altLang="en-US" kern="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563" y="1947610"/>
            <a:ext cx="288000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600" b="1" spc="-80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ホーム画面で</a:t>
            </a:r>
            <a:endParaRPr lang="en-US" altLang="ja-JP" sz="1600" b="1" spc="-80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r>
              <a:rPr lang="en-US" altLang="ja-JP" sz="1600" b="1" spc="-80" dirty="0">
                <a:latin typeface="メイリオ"/>
                <a:ea typeface="メイリオ"/>
                <a:cs typeface="IPAexGothic"/>
              </a:rPr>
              <a:t>｢App Store｣</a:t>
            </a:r>
            <a:r>
              <a:rPr lang="ja-JP" altLang="en-US" sz="1600" b="1" spc="-80" dirty="0">
                <a:latin typeface="メイリオ"/>
                <a:ea typeface="メイリオ"/>
                <a:cs typeface="IPAexGothic"/>
              </a:rPr>
              <a:t>　　 を押す</a:t>
            </a:r>
            <a:endParaRPr lang="ja-JP" altLang="en-US" sz="1600" b="1" dirty="0">
              <a:latin typeface="メイリオ"/>
              <a:ea typeface="メイリオ"/>
              <a:cs typeface="IPAexGothic"/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DCFE6228-D914-8207-A25B-ED9F12C775E1}"/>
              </a:ext>
            </a:extLst>
          </p:cNvPr>
          <p:cNvSpPr txBox="1"/>
          <p:nvPr/>
        </p:nvSpPr>
        <p:spPr>
          <a:xfrm>
            <a:off x="513619" y="2211332"/>
            <a:ext cx="5292000" cy="12640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2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App Stor</a:t>
            </a:r>
            <a:r>
              <a:rPr lang="en-US" altLang="ja-JP" sz="16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e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（アップストア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）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は色々なアプリが入手でき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ここにあるアプリは全て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Apple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の認証を得ていますの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安全性が保証されています。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なお有料と無料のアプリがありますのでご注意下さい。</a:t>
            </a:r>
          </a:p>
        </p:txBody>
      </p: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2D36D5C0-BCC3-FAFF-6448-8ED56C8C814B}"/>
              </a:ext>
            </a:extLst>
          </p:cNvPr>
          <p:cNvGrpSpPr/>
          <p:nvPr/>
        </p:nvGrpSpPr>
        <p:grpSpPr>
          <a:xfrm>
            <a:off x="6393785" y="2556922"/>
            <a:ext cx="1909209" cy="3602691"/>
            <a:chOff x="9634110" y="2577872"/>
            <a:chExt cx="1770587" cy="3443416"/>
          </a:xfrm>
        </p:grpSpPr>
        <p:sp>
          <p:nvSpPr>
            <p:cNvPr id="130" name="楕円 26">
              <a:extLst>
                <a:ext uri="{FF2B5EF4-FFF2-40B4-BE49-F238E27FC236}">
                  <a16:creationId xmlns:a16="http://schemas.microsoft.com/office/drawing/2014/main" id="{3D77EEE6-A1D1-46D9-AD4B-089DE0CCCC81}"/>
                </a:ext>
              </a:extLst>
            </p:cNvPr>
            <p:cNvSpPr/>
            <p:nvPr/>
          </p:nvSpPr>
          <p:spPr>
            <a:xfrm>
              <a:off x="10476656" y="3962265"/>
              <a:ext cx="122637" cy="1226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740" dirty="0"/>
            </a:p>
          </p:txBody>
        </p:sp>
        <p:grpSp>
          <p:nvGrpSpPr>
            <p:cNvPr id="145" name="グループ化 29">
              <a:extLst>
                <a:ext uri="{FF2B5EF4-FFF2-40B4-BE49-F238E27FC236}">
                  <a16:creationId xmlns:a16="http://schemas.microsoft.com/office/drawing/2014/main" id="{FAE83F91-92BB-4C39-A4DA-23ACE555AE33}"/>
                </a:ext>
              </a:extLst>
            </p:cNvPr>
            <p:cNvGrpSpPr/>
            <p:nvPr/>
          </p:nvGrpSpPr>
          <p:grpSpPr>
            <a:xfrm>
              <a:off x="9634110" y="2577872"/>
              <a:ext cx="1770587" cy="3443416"/>
              <a:chOff x="1108042" y="2746115"/>
              <a:chExt cx="1971823" cy="3943644"/>
            </a:xfrm>
          </p:grpSpPr>
          <p:pic>
            <p:nvPicPr>
              <p:cNvPr id="147" name="図 146">
                <a:extLst>
                  <a:ext uri="{FF2B5EF4-FFF2-40B4-BE49-F238E27FC236}">
                    <a16:creationId xmlns:a16="http://schemas.microsoft.com/office/drawing/2014/main" id="{4EB56C88-7B3C-43D1-8908-5F64EDDE4C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48" name="正方形/長方形 147">
                <a:extLst>
                  <a:ext uri="{FF2B5EF4-FFF2-40B4-BE49-F238E27FC236}">
                    <a16:creationId xmlns:a16="http://schemas.microsoft.com/office/drawing/2014/main" id="{E63058BA-EACA-4511-88DB-1B40F2E88A39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ja-JP" altLang="en-US" sz="740" dirty="0"/>
              </a:p>
            </p:txBody>
          </p:sp>
        </p:grpSp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C20E83C5-1740-ED5A-4369-470CF440C4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45326" y="2949581"/>
              <a:ext cx="1532935" cy="27052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0" name="正方形/長方形 149"/>
          <p:cNvSpPr>
            <a:spLocks noChangeAspect="1"/>
          </p:cNvSpPr>
          <p:nvPr/>
        </p:nvSpPr>
        <p:spPr>
          <a:xfrm>
            <a:off x="6588224" y="3429000"/>
            <a:ext cx="360040" cy="36004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2" name="図形グループ 21"/>
          <p:cNvGrpSpPr/>
          <p:nvPr/>
        </p:nvGrpSpPr>
        <p:grpSpPr>
          <a:xfrm>
            <a:off x="6361055" y="3234606"/>
            <a:ext cx="296587" cy="293005"/>
            <a:chOff x="2897417" y="3995693"/>
            <a:chExt cx="296587" cy="293005"/>
          </a:xfrm>
        </p:grpSpPr>
        <p:sp>
          <p:nvSpPr>
            <p:cNvPr id="23" name="円/楕円 2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" name="Picture 2">
            <a:extLst>
              <a:ext uri="{FF2B5EF4-FFF2-40B4-BE49-F238E27FC236}">
                <a16:creationId xmlns:a16="http://schemas.microsoft.com/office/drawing/2014/main" id="{2A0E9633-426F-D002-F127-432894E62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6513708" y="2945826"/>
            <a:ext cx="290540" cy="10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2" descr="「App Store（アップストア）」のアイコンの画像">
            <a:extLst>
              <a:ext uri="{FF2B5EF4-FFF2-40B4-BE49-F238E27FC236}">
                <a16:creationId xmlns:a16="http://schemas.microsoft.com/office/drawing/2014/main" id="{3A413B88-5BAA-B275-230C-E21B9E6708AE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11981" y="2179936"/>
            <a:ext cx="272388" cy="3161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847901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0785247-B2A7-A8D8-C408-309DFAC09B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6829" y="3081232"/>
            <a:ext cx="1640394" cy="2801416"/>
          </a:xfrm>
          <a:prstGeom prst="rect">
            <a:avLst/>
          </a:prstGeom>
        </p:spPr>
      </p:pic>
      <p:pic>
        <p:nvPicPr>
          <p:cNvPr id="24" name="図 23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F5DCADE6-34B4-F6EC-D69A-58E7AD7F76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9083" y="4695601"/>
            <a:ext cx="1629310" cy="1183190"/>
          </a:xfrm>
          <a:prstGeom prst="rect">
            <a:avLst/>
          </a:prstGeom>
        </p:spPr>
      </p:pic>
      <p:pic>
        <p:nvPicPr>
          <p:cNvPr id="22" name="図 2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622DFF6-505A-E156-C70A-972B9C244B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0532" y="3073858"/>
            <a:ext cx="1643165" cy="2801416"/>
          </a:xfrm>
          <a:prstGeom prst="rect">
            <a:avLst/>
          </a:prstGeom>
        </p:spPr>
      </p:pic>
      <p:pic>
        <p:nvPicPr>
          <p:cNvPr id="67" name="図 66">
            <a:extLst>
              <a:ext uri="{FF2B5EF4-FFF2-40B4-BE49-F238E27FC236}">
                <a16:creationId xmlns:a16="http://schemas.microsoft.com/office/drawing/2014/main" id="{B6A6411A-8240-42E2-9D5F-F2F9A110EA3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40668"/>
          <a:stretch/>
        </p:blipFill>
        <p:spPr>
          <a:xfrm>
            <a:off x="2607615" y="3093315"/>
            <a:ext cx="1620000" cy="191982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楕円 1">
            <a:extLst>
              <a:ext uri="{FF2B5EF4-FFF2-40B4-BE49-F238E27FC236}">
                <a16:creationId xmlns:a16="http://schemas.microsoft.com/office/drawing/2014/main" id="{CB531FA0-13DD-DE75-A751-89AAA44FF1B7}"/>
              </a:ext>
            </a:extLst>
          </p:cNvPr>
          <p:cNvSpPr/>
          <p:nvPr/>
        </p:nvSpPr>
        <p:spPr>
          <a:xfrm>
            <a:off x="2547393" y="4637578"/>
            <a:ext cx="216024" cy="2146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solidFill>
                <a:schemeClr val="bg1"/>
              </a:solidFill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27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9" name="図 158" descr="「App Store」のホーム画面の画像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36" y="3088948"/>
            <a:ext cx="1512584" cy="297652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インストールしたいアプリの名前が分かっている場合</a:t>
            </a:r>
            <a:endParaRPr lang="ja-JP" altLang="en-US" sz="16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ボックス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し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0045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22571" y="1935158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36056" y="1937819"/>
            <a:ext cx="183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972088" y="1919030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en-US" altLang="ja-JP" sz="1600" b="1" spc="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endParaRPr lang="en-US" altLang="ja-JP" sz="1600" b="1" spc="-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</a:p>
          <a:p>
            <a:r>
              <a:rPr lang="ja-JP" altLang="en-US" sz="1600" b="1" spc="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98487" y="1935157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0732" y="2512868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名前から</a:t>
            </a: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198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完了</a:t>
            </a:r>
            <a:r>
              <a:rPr lang="ja-JP" altLang="en-US" sz="1600" b="1" spc="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して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開く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endParaRPr lang="en-US" altLang="ja-JP" sz="1600" b="1" spc="22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と</a:t>
            </a:r>
            <a:endParaRPr lang="en-US" altLang="ja-JP" sz="1600" b="1" spc="-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ア</a:t>
            </a:r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プ</a:t>
            </a:r>
            <a:r>
              <a:rPr lang="ja-JP" altLang="en-US" sz="1600" b="1" spc="-1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リが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起動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90968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正方形/長方形 141"/>
          <p:cNvSpPr/>
          <p:nvPr/>
        </p:nvSpPr>
        <p:spPr>
          <a:xfrm>
            <a:off x="1758825" y="5804036"/>
            <a:ext cx="291600" cy="2916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1" name="テキスト ボックス 1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98487" y="250648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70" name="図 69">
            <a:extLst>
              <a:ext uri="{FF2B5EF4-FFF2-40B4-BE49-F238E27FC236}">
                <a16:creationId xmlns:a16="http://schemas.microsoft.com/office/drawing/2014/main" id="{0782929D-F929-47EA-8604-17DFD145302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73331" t="15715" r="2509" b="79729"/>
          <a:stretch/>
        </p:blipFill>
        <p:spPr>
          <a:xfrm>
            <a:off x="8000959" y="3461368"/>
            <a:ext cx="381000" cy="146544"/>
          </a:xfrm>
          <a:prstGeom prst="rect">
            <a:avLst/>
          </a:prstGeom>
          <a:ln>
            <a:noFill/>
          </a:ln>
        </p:spPr>
      </p:pic>
      <p:sp>
        <p:nvSpPr>
          <p:cNvPr id="54" name="正方形/長方形 53"/>
          <p:cNvSpPr/>
          <p:nvPr/>
        </p:nvSpPr>
        <p:spPr>
          <a:xfrm>
            <a:off x="5822476" y="3393646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5" name="正方形/長方形 54"/>
          <p:cNvSpPr/>
          <p:nvPr/>
        </p:nvSpPr>
        <p:spPr>
          <a:xfrm>
            <a:off x="7946959" y="3397452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4" name="図形グループ 93"/>
          <p:cNvGrpSpPr/>
          <p:nvPr/>
        </p:nvGrpSpPr>
        <p:grpSpPr>
          <a:xfrm>
            <a:off x="7719372" y="3219077"/>
            <a:ext cx="296586" cy="293005"/>
            <a:chOff x="7423697" y="3995693"/>
            <a:chExt cx="296586" cy="293005"/>
          </a:xfrm>
        </p:grpSpPr>
        <p:sp>
          <p:nvSpPr>
            <p:cNvPr id="95" name="円/楕円 94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6" name="フリーフォーム 95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4" name="図形グループ 103"/>
          <p:cNvGrpSpPr/>
          <p:nvPr/>
        </p:nvGrpSpPr>
        <p:grpSpPr>
          <a:xfrm>
            <a:off x="5593147" y="3219779"/>
            <a:ext cx="296586" cy="293005"/>
            <a:chOff x="5878361" y="3995693"/>
            <a:chExt cx="296586" cy="293005"/>
          </a:xfrm>
        </p:grpSpPr>
        <p:sp>
          <p:nvSpPr>
            <p:cNvPr id="105" name="円/楕円 10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6" name="フリーフォーム 10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13" name="図形グループ 112"/>
          <p:cNvGrpSpPr/>
          <p:nvPr/>
        </p:nvGrpSpPr>
        <p:grpSpPr>
          <a:xfrm>
            <a:off x="1547994" y="5576937"/>
            <a:ext cx="296586" cy="293005"/>
            <a:chOff x="3546641" y="3995693"/>
            <a:chExt cx="296586" cy="293005"/>
          </a:xfrm>
        </p:grpSpPr>
        <p:sp>
          <p:nvSpPr>
            <p:cNvPr id="114" name="円/楕円 11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5" name="フリーフォーム 11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3" name="正方形/長方形 52"/>
          <p:cNvSpPr/>
          <p:nvPr/>
        </p:nvSpPr>
        <p:spPr>
          <a:xfrm>
            <a:off x="2630619" y="3345369"/>
            <a:ext cx="1572954" cy="24922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10" name="図形グループ 109"/>
          <p:cNvGrpSpPr/>
          <p:nvPr/>
        </p:nvGrpSpPr>
        <p:grpSpPr>
          <a:xfrm>
            <a:off x="2400362" y="3111782"/>
            <a:ext cx="296586" cy="293005"/>
            <a:chOff x="4232441" y="3995693"/>
            <a:chExt cx="296586" cy="293005"/>
          </a:xfrm>
        </p:grpSpPr>
        <p:sp>
          <p:nvSpPr>
            <p:cNvPr id="111" name="円/楕円 11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2" name="フリーフォーム 11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" name="グループ化 7" descr="検索ボックスに「マイナポータル」と表示されている画像">
            <a:extLst>
              <a:ext uri="{FF2B5EF4-FFF2-40B4-BE49-F238E27FC236}">
                <a16:creationId xmlns:a16="http://schemas.microsoft.com/office/drawing/2014/main" id="{7D47B44E-ED83-4DB1-9F1B-8D54B02455AA}"/>
              </a:ext>
            </a:extLst>
          </p:cNvPr>
          <p:cNvGrpSpPr/>
          <p:nvPr/>
        </p:nvGrpSpPr>
        <p:grpSpPr>
          <a:xfrm>
            <a:off x="2458032" y="4615851"/>
            <a:ext cx="2048724" cy="1468149"/>
            <a:chOff x="2615438" y="4344111"/>
            <a:chExt cx="2208370" cy="1585228"/>
          </a:xfrm>
        </p:grpSpPr>
        <p:pic>
          <p:nvPicPr>
            <p:cNvPr id="69" name="図 68" descr="グラフィカル ユーザー インターフェイス, アプリケーション, テーブル, Teams&#10;&#10;自動的に生成された説明">
              <a:extLst>
                <a:ext uri="{FF2B5EF4-FFF2-40B4-BE49-F238E27FC236}">
                  <a16:creationId xmlns:a16="http://schemas.microsoft.com/office/drawing/2014/main" id="{AB1EC94E-D940-49D0-A8B7-DD645ABBD3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t="3257" b="57389"/>
            <a:stretch/>
          </p:blipFill>
          <p:spPr>
            <a:xfrm>
              <a:off x="2843808" y="4543385"/>
              <a:ext cx="1980000" cy="138595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9" name="フリーフォーム 108"/>
            <p:cNvSpPr/>
            <p:nvPr/>
          </p:nvSpPr>
          <p:spPr>
            <a:xfrm>
              <a:off x="2615438" y="4344111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1" name="正方形/長方形 50"/>
            <p:cNvSpPr/>
            <p:nvPr/>
          </p:nvSpPr>
          <p:spPr>
            <a:xfrm>
              <a:off x="2891700" y="4571536"/>
              <a:ext cx="1439999" cy="216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" name="矢印: 右 2">
            <a:extLst>
              <a:ext uri="{FF2B5EF4-FFF2-40B4-BE49-F238E27FC236}">
                <a16:creationId xmlns:a16="http://schemas.microsoft.com/office/drawing/2014/main" id="{85A19CD2-EC81-4B92-764E-5368D05DE26B}"/>
              </a:ext>
            </a:extLst>
          </p:cNvPr>
          <p:cNvSpPr/>
          <p:nvPr/>
        </p:nvSpPr>
        <p:spPr>
          <a:xfrm>
            <a:off x="2153818" y="4057724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5" name="矢印: 右 4">
            <a:extLst>
              <a:ext uri="{FF2B5EF4-FFF2-40B4-BE49-F238E27FC236}">
                <a16:creationId xmlns:a16="http://schemas.microsoft.com/office/drawing/2014/main" id="{ECF43A23-0C70-C895-4E3B-1E81FDA7506B}"/>
              </a:ext>
            </a:extLst>
          </p:cNvPr>
          <p:cNvSpPr/>
          <p:nvPr/>
        </p:nvSpPr>
        <p:spPr>
          <a:xfrm>
            <a:off x="4281335" y="4052278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" name="矢印: 右 6">
            <a:extLst>
              <a:ext uri="{FF2B5EF4-FFF2-40B4-BE49-F238E27FC236}">
                <a16:creationId xmlns:a16="http://schemas.microsoft.com/office/drawing/2014/main" id="{7F4E3DF3-B683-60A5-D93E-191C9790C8DF}"/>
              </a:ext>
            </a:extLst>
          </p:cNvPr>
          <p:cNvSpPr/>
          <p:nvPr/>
        </p:nvSpPr>
        <p:spPr>
          <a:xfrm>
            <a:off x="6386246" y="4058670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FBD1AAC7-D5A5-169F-139D-D9A1B04C37B2}"/>
              </a:ext>
            </a:extLst>
          </p:cNvPr>
          <p:cNvSpPr/>
          <p:nvPr/>
        </p:nvSpPr>
        <p:spPr>
          <a:xfrm rot="5400000">
            <a:off x="3165322" y="3990934"/>
            <a:ext cx="752740" cy="4435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2" name="正方形/長方形 91"/>
          <p:cNvSpPr/>
          <p:nvPr/>
        </p:nvSpPr>
        <p:spPr>
          <a:xfrm>
            <a:off x="5179387" y="5514099"/>
            <a:ext cx="678519" cy="28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7" name="図形グループ 96"/>
          <p:cNvGrpSpPr/>
          <p:nvPr/>
        </p:nvGrpSpPr>
        <p:grpSpPr>
          <a:xfrm>
            <a:off x="5753597" y="5301687"/>
            <a:ext cx="296586" cy="293005"/>
            <a:chOff x="6801905" y="3995693"/>
            <a:chExt cx="296586" cy="293005"/>
          </a:xfrm>
        </p:grpSpPr>
        <p:sp>
          <p:nvSpPr>
            <p:cNvPr id="98" name="円/楕円 97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3" name="フリーフォーム 10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973282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F51CDAA-4F66-D3A7-755D-5AE4BA3EDE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0029" y="3133888"/>
            <a:ext cx="2333128" cy="2006158"/>
          </a:xfrm>
          <a:prstGeom prst="rect">
            <a:avLst/>
          </a:prstGeom>
        </p:spPr>
      </p:pic>
      <p:pic>
        <p:nvPicPr>
          <p:cNvPr id="6" name="図 5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D5A7EC7F-DC8B-B29D-B3AD-086134F583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043" y="3132248"/>
            <a:ext cx="1926253" cy="139882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7" name="図 86" descr="パスワードを保存するかどうかを確認する画面の画像">
            <a:extLst>
              <a:ext uri="{FF2B5EF4-FFF2-40B4-BE49-F238E27FC236}">
                <a16:creationId xmlns:a16="http://schemas.microsoft.com/office/drawing/2014/main" id="{9ACC2454-EF3F-4BC6-B928-57054F3CAF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3121" y="3149860"/>
            <a:ext cx="2310116" cy="164138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354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もしインストールの途中でこんなメッセージが出たら･･･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98" name="正方形/長方形 97"/>
          <p:cNvSpPr>
            <a:spLocks/>
          </p:cNvSpPr>
          <p:nvPr/>
        </p:nvSpPr>
        <p:spPr>
          <a:xfrm>
            <a:off x="3796387" y="4398240"/>
            <a:ext cx="82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8" name="テキスト ボックス 117">
            <a:extLst>
              <a:ext uri="{FF2B5EF4-FFF2-40B4-BE49-F238E27FC236}">
                <a16:creationId xmlns:a16="http://schemas.microsoft.com/office/drawing/2014/main" id="{20C3474E-42ED-4A4C-AE5A-A4C6F0DAFE01}"/>
              </a:ext>
            </a:extLst>
          </p:cNvPr>
          <p:cNvSpPr txBox="1"/>
          <p:nvPr/>
        </p:nvSpPr>
        <p:spPr>
          <a:xfrm>
            <a:off x="4285710" y="5365146"/>
            <a:ext cx="457267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保存すると、次回からは無料のアプリを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する際は、パスワードの入力は不要です。</a:t>
            </a:r>
            <a:endParaRPr lang="ja-JP" altLang="en-US" sz="9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43" name="正方形/長方形 142"/>
          <p:cNvSpPr>
            <a:spLocks/>
          </p:cNvSpPr>
          <p:nvPr/>
        </p:nvSpPr>
        <p:spPr>
          <a:xfrm>
            <a:off x="6293515" y="4320866"/>
            <a:ext cx="726757" cy="29159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名前から</a:t>
            </a: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28" name="正方形/長方形 127"/>
          <p:cNvSpPr>
            <a:spLocks/>
          </p:cNvSpPr>
          <p:nvPr/>
        </p:nvSpPr>
        <p:spPr>
          <a:xfrm>
            <a:off x="3341757" y="4132612"/>
            <a:ext cx="1764000" cy="21232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7" name="テキスト ボックス 14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1676" y="2251107"/>
            <a:ext cx="28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Apple ID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パスワードを入力</a:t>
            </a:r>
            <a:r>
              <a:rPr lang="ja-JP" altLang="en-US" sz="1600" b="1" spc="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し</a:t>
            </a:r>
            <a:endParaRPr lang="en-US" altLang="ja-JP" sz="1600" b="1" spc="1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サインイン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49" name="テキスト ボックス 1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3686" y="218876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0" name="テキスト ボックス 1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911958" y="2301662"/>
            <a:ext cx="2362534" cy="3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❻</a:t>
            </a:r>
            <a:r>
              <a:rPr lang="ja-JP" altLang="en-US" sz="20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画面</a:t>
            </a:r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151" name="テキスト ボックス 1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671485" y="218876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52" name="テキスト ボックス 1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95620" y="2266063"/>
            <a:ext cx="28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保存</a:t>
            </a:r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正方形/長方形 35"/>
          <p:cNvSpPr>
            <a:spLocks/>
          </p:cNvSpPr>
          <p:nvPr/>
        </p:nvSpPr>
        <p:spPr>
          <a:xfrm>
            <a:off x="1163935" y="4147861"/>
            <a:ext cx="828000" cy="226068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7" name="図形グループ 36"/>
          <p:cNvGrpSpPr/>
          <p:nvPr/>
        </p:nvGrpSpPr>
        <p:grpSpPr>
          <a:xfrm>
            <a:off x="6116622" y="4105235"/>
            <a:ext cx="296586" cy="293005"/>
            <a:chOff x="3546641" y="3995693"/>
            <a:chExt cx="296586" cy="293005"/>
          </a:xfrm>
        </p:grpSpPr>
        <p:sp>
          <p:nvSpPr>
            <p:cNvPr id="38" name="円/楕円 3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9" name="フリーフォーム 3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70AB4B7C-27C8-5208-32B1-6A0F4D7132CB}"/>
              </a:ext>
            </a:extLst>
          </p:cNvPr>
          <p:cNvSpPr/>
          <p:nvPr/>
        </p:nvSpPr>
        <p:spPr>
          <a:xfrm>
            <a:off x="2627784" y="3877429"/>
            <a:ext cx="356831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D3269916-3523-3363-DEDF-4BBC0562F39A}"/>
              </a:ext>
            </a:extLst>
          </p:cNvPr>
          <p:cNvSpPr/>
          <p:nvPr/>
        </p:nvSpPr>
        <p:spPr>
          <a:xfrm>
            <a:off x="5584654" y="3881168"/>
            <a:ext cx="356831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14" name="図形グループ 21">
            <a:extLst>
              <a:ext uri="{FF2B5EF4-FFF2-40B4-BE49-F238E27FC236}">
                <a16:creationId xmlns:a16="http://schemas.microsoft.com/office/drawing/2014/main" id="{3FEF7EA1-FD6C-BD2E-CC02-4142BBBBDBBE}"/>
              </a:ext>
            </a:extLst>
          </p:cNvPr>
          <p:cNvGrpSpPr/>
          <p:nvPr/>
        </p:nvGrpSpPr>
        <p:grpSpPr>
          <a:xfrm>
            <a:off x="3195293" y="3928083"/>
            <a:ext cx="296587" cy="293005"/>
            <a:chOff x="2897417" y="3995693"/>
            <a:chExt cx="296587" cy="293005"/>
          </a:xfrm>
        </p:grpSpPr>
        <p:sp>
          <p:nvSpPr>
            <p:cNvPr id="16" name="円/楕円 22">
              <a:extLst>
                <a:ext uri="{FF2B5EF4-FFF2-40B4-BE49-F238E27FC236}">
                  <a16:creationId xmlns:a16="http://schemas.microsoft.com/office/drawing/2014/main" id="{2F5A7F95-58D6-6781-00EC-24050BD66E46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86054312-7516-99B0-02D4-0ED35D748148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53869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9747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図 70" descr="「トップカテゴリ」が表示されたカテゴリの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674" y="3079972"/>
            <a:ext cx="1440000" cy="302938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9" name="図 158" descr="「App Store」のホーム画面の画像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284" y="3063135"/>
            <a:ext cx="1444565" cy="30353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2352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27584" y="1950097"/>
            <a:ext cx="22322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カテゴリ</a:t>
            </a:r>
            <a:r>
              <a:rPr lang="en-US" altLang="ja-JP" sz="15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を押した</a:t>
            </a:r>
            <a:endParaRPr lang="en-US" altLang="ja-JP" sz="15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あとに</a:t>
            </a:r>
            <a:r>
              <a:rPr lang="en-US" altLang="ja-JP" sz="1500" b="1" dirty="0">
                <a:latin typeface="Meiryo" charset="-128"/>
                <a:ea typeface="Meiryo" charset="-128"/>
                <a:cs typeface="Meiryo" charset="-128"/>
              </a:rPr>
              <a:t>｢App｣</a:t>
            </a:r>
            <a:r>
              <a:rPr lang="ja-JP" altLang="en-US" sz="1500" b="1" dirty="0">
                <a:latin typeface="Meiryo" charset="-128"/>
                <a:ea typeface="Meiryo" charset="-128"/>
                <a:cs typeface="Meiryo" charset="-128"/>
              </a:rPr>
              <a:t>　  を押す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32171" y="1931435"/>
            <a:ext cx="196444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カテゴリの中で</a:t>
            </a:r>
            <a:r>
              <a:rPr lang="en-US" altLang="ja-JP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ユーティリティ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</a:p>
          <a:p>
            <a:r>
              <a:rPr lang="ja-JP" altLang="en-US" sz="15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79613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インストール</a:t>
            </a:r>
            <a:endParaRPr kumimoji="0" lang="ja-JP" altLang="en-US" kern="0" dirty="0"/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84088" y="1937819"/>
            <a:ext cx="247346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App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中から</a:t>
            </a:r>
            <a:endParaRPr lang="en-US" altLang="ja-JP" sz="15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spc="-15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トップカテゴリ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右に</a:t>
            </a:r>
            <a:endParaRPr lang="en-US" altLang="ja-JP" sz="15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ある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すべて表示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48052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正方形/長方形 141"/>
          <p:cNvSpPr/>
          <p:nvPr/>
        </p:nvSpPr>
        <p:spPr>
          <a:xfrm>
            <a:off x="1512061" y="5823548"/>
            <a:ext cx="291600" cy="29300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2" name="正方形/長方形 161"/>
          <p:cNvSpPr/>
          <p:nvPr/>
        </p:nvSpPr>
        <p:spPr>
          <a:xfrm>
            <a:off x="4555818" y="4026695"/>
            <a:ext cx="448230" cy="1824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90" name="図形グループ 89"/>
          <p:cNvGrpSpPr/>
          <p:nvPr/>
        </p:nvGrpSpPr>
        <p:grpSpPr>
          <a:xfrm>
            <a:off x="4306956" y="3816948"/>
            <a:ext cx="296586" cy="293005"/>
            <a:chOff x="3546641" y="3995693"/>
            <a:chExt cx="296586" cy="293005"/>
          </a:xfrm>
        </p:grpSpPr>
        <p:sp>
          <p:nvSpPr>
            <p:cNvPr id="91" name="円/楕円 9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フリーフォーム 9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3" name="図形グループ 92"/>
          <p:cNvGrpSpPr/>
          <p:nvPr/>
        </p:nvGrpSpPr>
        <p:grpSpPr>
          <a:xfrm>
            <a:off x="1241720" y="5607585"/>
            <a:ext cx="296587" cy="293005"/>
            <a:chOff x="2897417" y="3995693"/>
            <a:chExt cx="296587" cy="293005"/>
          </a:xfrm>
        </p:grpSpPr>
        <p:sp>
          <p:nvSpPr>
            <p:cNvPr id="96" name="円/楕円 9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7" name="テキスト ボックス 9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" name="グループ化 4" descr="カテゴリ一覧画面で「ユーティリティ」をタップしている画像">
            <a:extLst>
              <a:ext uri="{FF2B5EF4-FFF2-40B4-BE49-F238E27FC236}">
                <a16:creationId xmlns:a16="http://schemas.microsoft.com/office/drawing/2014/main" id="{660CB407-6509-4BB5-8C5A-D959B26A70B3}"/>
              </a:ext>
            </a:extLst>
          </p:cNvPr>
          <p:cNvGrpSpPr/>
          <p:nvPr/>
        </p:nvGrpSpPr>
        <p:grpSpPr>
          <a:xfrm>
            <a:off x="6272427" y="3102716"/>
            <a:ext cx="1586965" cy="3035397"/>
            <a:chOff x="4787562" y="3090397"/>
            <a:chExt cx="1621754" cy="3035397"/>
          </a:xfrm>
        </p:grpSpPr>
        <p:pic>
          <p:nvPicPr>
            <p:cNvPr id="69" name="図 68">
              <a:extLst>
                <a:ext uri="{FF2B5EF4-FFF2-40B4-BE49-F238E27FC236}">
                  <a16:creationId xmlns:a16="http://schemas.microsoft.com/office/drawing/2014/main" id="{C7E54340-7E4E-4BB6-A186-66BB5EDDA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36458" y="3090397"/>
              <a:ext cx="1472858" cy="303539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38" name="正方形/長方形 137"/>
            <p:cNvSpPr/>
            <p:nvPr/>
          </p:nvSpPr>
          <p:spPr>
            <a:xfrm>
              <a:off x="4937193" y="5087190"/>
              <a:ext cx="1472122" cy="21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3" name="図形グループ 82"/>
            <p:cNvGrpSpPr/>
            <p:nvPr/>
          </p:nvGrpSpPr>
          <p:grpSpPr>
            <a:xfrm>
              <a:off x="4787562" y="4797152"/>
              <a:ext cx="296586" cy="293005"/>
              <a:chOff x="4232441" y="3995693"/>
              <a:chExt cx="296586" cy="293005"/>
            </a:xfrm>
          </p:grpSpPr>
          <p:sp>
            <p:nvSpPr>
              <p:cNvPr id="84" name="円/楕円 83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5" name="フリーフォーム 84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D445DAD1-D9C3-5A56-ADB9-0B03FC97E04B}"/>
              </a:ext>
            </a:extLst>
          </p:cNvPr>
          <p:cNvSpPr/>
          <p:nvPr/>
        </p:nvSpPr>
        <p:spPr>
          <a:xfrm>
            <a:off x="2705760" y="4238952"/>
            <a:ext cx="401347" cy="3074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7C7CA8DF-FA02-758B-22C5-A76ED6850F46}"/>
              </a:ext>
            </a:extLst>
          </p:cNvPr>
          <p:cNvSpPr/>
          <p:nvPr/>
        </p:nvSpPr>
        <p:spPr>
          <a:xfrm>
            <a:off x="5506228" y="4238952"/>
            <a:ext cx="401347" cy="3074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18F710DB-2915-D205-4066-AA0CCA2D0BCB}"/>
              </a:ext>
            </a:extLst>
          </p:cNvPr>
          <p:cNvSpPr/>
          <p:nvPr/>
        </p:nvSpPr>
        <p:spPr>
          <a:xfrm>
            <a:off x="8169272" y="4238952"/>
            <a:ext cx="401347" cy="3074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BC7B63A7-680D-8678-9EEA-C6DEB98C3436}"/>
              </a:ext>
            </a:extLst>
          </p:cNvPr>
          <p:cNvSpPr txBox="1">
            <a:spLocks/>
          </p:cNvSpPr>
          <p:nvPr/>
        </p:nvSpPr>
        <p:spPr>
          <a:xfrm>
            <a:off x="507804" y="1433548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ーから探してみる。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2" name="図 11" descr="「App Store」のホーム画面の画像">
            <a:extLst>
              <a:ext uri="{FF2B5EF4-FFF2-40B4-BE49-F238E27FC236}">
                <a16:creationId xmlns:a16="http://schemas.microsoft.com/office/drawing/2014/main" id="{4EDC72AA-3DBB-23CE-92D2-E96078DC262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76" t="92885" r="42670" b="594"/>
          <a:stretch/>
        </p:blipFill>
        <p:spPr>
          <a:xfrm>
            <a:off x="2123728" y="2204864"/>
            <a:ext cx="216024" cy="19794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256132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05C428A3-9683-85ED-F50F-8110444F59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3441" y="2985040"/>
            <a:ext cx="1607143" cy="2984298"/>
          </a:xfrm>
          <a:prstGeom prst="rect">
            <a:avLst/>
          </a:prstGeom>
        </p:spPr>
      </p:pic>
      <p:pic>
        <p:nvPicPr>
          <p:cNvPr id="6" name="図 5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55983DB8-4F02-10A3-5329-1131DEF186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2878" y="2967380"/>
            <a:ext cx="1607143" cy="2987069"/>
          </a:xfrm>
          <a:prstGeom prst="rect">
            <a:avLst/>
          </a:prstGeom>
        </p:spPr>
      </p:pic>
      <p:pic>
        <p:nvPicPr>
          <p:cNvPr id="5" name="図 4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596EE6F-E9C4-0D5C-C8B2-7B27CE12503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3516" y="2983915"/>
            <a:ext cx="1607143" cy="2987069"/>
          </a:xfrm>
          <a:prstGeom prst="rect">
            <a:avLst/>
          </a:prstGeom>
        </p:spPr>
      </p:pic>
      <p:pic>
        <p:nvPicPr>
          <p:cNvPr id="2" name="図 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AC16E8D5-B77A-6D6C-03ED-D598465457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90779" y="4805542"/>
            <a:ext cx="1573679" cy="1142792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959588" y="2240881"/>
            <a:ext cx="297348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ポータル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の右にある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50970" y="215804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インストール</a:t>
            </a:r>
            <a:endParaRPr kumimoji="0" lang="ja-JP" altLang="en-US" kern="0" dirty="0"/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18F710DB-2915-D205-4066-AA0CCA2D0BCB}"/>
              </a:ext>
            </a:extLst>
          </p:cNvPr>
          <p:cNvSpPr/>
          <p:nvPr/>
        </p:nvSpPr>
        <p:spPr>
          <a:xfrm>
            <a:off x="5638954" y="4129819"/>
            <a:ext cx="681890" cy="51090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BC7B63A7-680D-8678-9EEA-C6DEB98C3436}"/>
              </a:ext>
            </a:extLst>
          </p:cNvPr>
          <p:cNvSpPr txBox="1">
            <a:spLocks/>
          </p:cNvSpPr>
          <p:nvPr/>
        </p:nvSpPr>
        <p:spPr>
          <a:xfrm>
            <a:off x="507804" y="1433548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ーから探してみる。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58129ECE-FE8D-353E-822C-78212F5D2D55}"/>
              </a:ext>
            </a:extLst>
          </p:cNvPr>
          <p:cNvSpPr txBox="1"/>
          <p:nvPr/>
        </p:nvSpPr>
        <p:spPr>
          <a:xfrm>
            <a:off x="6548420" y="2246337"/>
            <a:ext cx="1980000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が完了後、</a:t>
            </a:r>
            <a:r>
              <a:rPr lang="en-US" altLang="ja-JP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開く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500" b="1" spc="-1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62" name="正方形/長方形 161"/>
          <p:cNvSpPr/>
          <p:nvPr/>
        </p:nvSpPr>
        <p:spPr>
          <a:xfrm>
            <a:off x="1962922" y="3877715"/>
            <a:ext cx="376830" cy="1824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7" name="図形グループ 76"/>
          <p:cNvGrpSpPr/>
          <p:nvPr/>
        </p:nvGrpSpPr>
        <p:grpSpPr>
          <a:xfrm>
            <a:off x="1790125" y="3645024"/>
            <a:ext cx="296586" cy="293005"/>
            <a:chOff x="5101121" y="3995693"/>
            <a:chExt cx="296586" cy="293005"/>
          </a:xfrm>
        </p:grpSpPr>
        <p:sp>
          <p:nvSpPr>
            <p:cNvPr id="81" name="円/楕円 80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フリーフォーム 81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134F8E15-E376-BB83-A9DD-75183610CD01}"/>
              </a:ext>
            </a:extLst>
          </p:cNvPr>
          <p:cNvSpPr/>
          <p:nvPr/>
        </p:nvSpPr>
        <p:spPr>
          <a:xfrm>
            <a:off x="7826478" y="3863616"/>
            <a:ext cx="376830" cy="18247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A5C00E0C-AD61-42CA-E0DD-0D0E44445750}"/>
              </a:ext>
            </a:extLst>
          </p:cNvPr>
          <p:cNvSpPr txBox="1"/>
          <p:nvPr/>
        </p:nvSpPr>
        <p:spPr>
          <a:xfrm>
            <a:off x="3419872" y="220486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308C8A9-6B86-2B17-642A-FE40D24B88DB}"/>
              </a:ext>
            </a:extLst>
          </p:cNvPr>
          <p:cNvSpPr txBox="1"/>
          <p:nvPr/>
        </p:nvSpPr>
        <p:spPr>
          <a:xfrm>
            <a:off x="3956263" y="2250362"/>
            <a:ext cx="297348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「インストール」</a:t>
            </a:r>
            <a:endParaRPr lang="en-US" altLang="ja-JP" sz="15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D58C4F79-E8A2-1B13-CF7D-9D079BDF9EC8}"/>
              </a:ext>
            </a:extLst>
          </p:cNvPr>
          <p:cNvSpPr/>
          <p:nvPr/>
        </p:nvSpPr>
        <p:spPr>
          <a:xfrm>
            <a:off x="4211960" y="5626418"/>
            <a:ext cx="720080" cy="216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004D66C8-E1FB-B59E-2778-F6194BA21FD5}"/>
              </a:ext>
            </a:extLst>
          </p:cNvPr>
          <p:cNvSpPr/>
          <p:nvPr/>
        </p:nvSpPr>
        <p:spPr>
          <a:xfrm>
            <a:off x="2798649" y="4142542"/>
            <a:ext cx="681890" cy="51090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9A722E7-58F8-3E45-CD56-A6FF4F752ACA}"/>
              </a:ext>
            </a:extLst>
          </p:cNvPr>
          <p:cNvSpPr txBox="1"/>
          <p:nvPr/>
        </p:nvSpPr>
        <p:spPr>
          <a:xfrm>
            <a:off x="5981673" y="2191637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7" name="図形グループ 103">
            <a:extLst>
              <a:ext uri="{FF2B5EF4-FFF2-40B4-BE49-F238E27FC236}">
                <a16:creationId xmlns:a16="http://schemas.microsoft.com/office/drawing/2014/main" id="{6B266DAA-6F06-A03B-3545-30EF2BDB74EC}"/>
              </a:ext>
            </a:extLst>
          </p:cNvPr>
          <p:cNvGrpSpPr/>
          <p:nvPr/>
        </p:nvGrpSpPr>
        <p:grpSpPr>
          <a:xfrm>
            <a:off x="3991307" y="5402698"/>
            <a:ext cx="296586" cy="293005"/>
            <a:chOff x="5878361" y="3995693"/>
            <a:chExt cx="296586" cy="293005"/>
          </a:xfrm>
        </p:grpSpPr>
        <p:sp>
          <p:nvSpPr>
            <p:cNvPr id="24" name="円/楕円 104">
              <a:extLst>
                <a:ext uri="{FF2B5EF4-FFF2-40B4-BE49-F238E27FC236}">
                  <a16:creationId xmlns:a16="http://schemas.microsoft.com/office/drawing/2014/main" id="{F359A30D-3FDB-7832-9913-3A4E1AD2FAFF}"/>
                </a:ext>
              </a:extLst>
            </p:cNvPr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フリーフォーム 105">
              <a:extLst>
                <a:ext uri="{FF2B5EF4-FFF2-40B4-BE49-F238E27FC236}">
                  <a16:creationId xmlns:a16="http://schemas.microsoft.com/office/drawing/2014/main" id="{A2D94FD5-68A1-28BB-AB33-3B3301FE8F33}"/>
                </a:ext>
              </a:extLst>
            </p:cNvPr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7" name="図形グループ 96">
            <a:extLst>
              <a:ext uri="{FF2B5EF4-FFF2-40B4-BE49-F238E27FC236}">
                <a16:creationId xmlns:a16="http://schemas.microsoft.com/office/drawing/2014/main" id="{D0A2313C-94EF-C803-8516-C60A07D717B9}"/>
              </a:ext>
            </a:extLst>
          </p:cNvPr>
          <p:cNvGrpSpPr/>
          <p:nvPr/>
        </p:nvGrpSpPr>
        <p:grpSpPr>
          <a:xfrm>
            <a:off x="7674934" y="3618479"/>
            <a:ext cx="296586" cy="293005"/>
            <a:chOff x="6801905" y="3995693"/>
            <a:chExt cx="296586" cy="293005"/>
          </a:xfrm>
        </p:grpSpPr>
        <p:sp>
          <p:nvSpPr>
            <p:cNvPr id="48" name="円/楕円 97">
              <a:extLst>
                <a:ext uri="{FF2B5EF4-FFF2-40B4-BE49-F238E27FC236}">
                  <a16:creationId xmlns:a16="http://schemas.microsoft.com/office/drawing/2014/main" id="{67D97687-7140-B243-693C-F4340161F1A4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フリーフォーム 102">
              <a:extLst>
                <a:ext uri="{FF2B5EF4-FFF2-40B4-BE49-F238E27FC236}">
                  <a16:creationId xmlns:a16="http://schemas.microsoft.com/office/drawing/2014/main" id="{7FDE049D-7CFD-6A26-D590-0B17135A7EF7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61614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5182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インストール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-A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インストールと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 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．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A Play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トアから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6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B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名前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7</a:t>
            </a:r>
          </a:p>
          <a:p>
            <a:pPr marL="92075" algn="dist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C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カテゴリ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algn="dist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３</a:t>
            </a:r>
            <a:r>
              <a:rPr lang="ja-JP" altLang="en-US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．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-A App Store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0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-B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アプリの名前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536575" algn="dist">
              <a:lnSpc>
                <a:spcPct val="1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-C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カテゴリから探して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 P13</a:t>
            </a: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直線コネクタ 4"/>
          <p:cNvCxnSpPr/>
          <p:nvPr/>
        </p:nvCxnSpPr>
        <p:spPr>
          <a:xfrm>
            <a:off x="1690311" y="162880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152464FB-BC53-0A1F-9B21-62E9FA26EA9F}"/>
              </a:ext>
            </a:extLst>
          </p:cNvPr>
          <p:cNvCxnSpPr/>
          <p:nvPr/>
        </p:nvCxnSpPr>
        <p:spPr>
          <a:xfrm>
            <a:off x="1690311" y="378904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20401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インストールとは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5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インストールとは</a:t>
            </a:r>
            <a:endParaRPr kumimoji="0" lang="ja-JP" altLang="en-US" kern="0" dirty="0"/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548632" y="1916832"/>
            <a:ext cx="7479752" cy="3568542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インストールとは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スマートフォン等のデジタル機器に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プリケーション等のソフトウェアを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取り込んで使えるようにすること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はじめから入っている機能以外にも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ご自身の使い方にあわせて、</a:t>
            </a:r>
            <a:endParaRPr lang="en-US" altLang="ja-JP" sz="21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2100" b="1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スマートフォンを自分好みにすることができます。</a:t>
            </a:r>
          </a:p>
        </p:txBody>
      </p:sp>
      <p:pic>
        <p:nvPicPr>
          <p:cNvPr id="10" name="図 9" descr="文字が書かれている&#10;&#10;低い精度で自動的に生成された説明">
            <a:extLst>
              <a:ext uri="{FF2B5EF4-FFF2-40B4-BE49-F238E27FC236}">
                <a16:creationId xmlns:a16="http://schemas.microsoft.com/office/drawing/2014/main" id="{25A9C10C-4530-249B-61A6-88374BA8CA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44208" y="2276872"/>
            <a:ext cx="1400741" cy="218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960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20401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Android</a:t>
            </a:r>
            <a:r>
              <a:rPr lang="ja-JP" altLang="en-US" sz="4800" dirty="0">
                <a:solidFill>
                  <a:srgbClr val="009650"/>
                </a:solidFill>
              </a:rPr>
              <a:t>の場合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5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2366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7A71A34C-47A1-4249-1576-EB7D55D288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057" y="2438401"/>
            <a:ext cx="3839735" cy="3839735"/>
          </a:xfrm>
          <a:prstGeom prst="rect">
            <a:avLst/>
          </a:prstGeom>
        </p:spPr>
      </p:pic>
      <p:sp>
        <p:nvSpPr>
          <p:cNvPr id="2" name="正方形/長方形 1"/>
          <p:cNvSpPr/>
          <p:nvPr/>
        </p:nvSpPr>
        <p:spPr>
          <a:xfrm>
            <a:off x="733276" y="4028187"/>
            <a:ext cx="5040000" cy="28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103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lay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トアからアプリをインストールしましょう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8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5611601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Play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トアからインストール</a:t>
            </a:r>
            <a:endParaRPr kumimoji="0" lang="ja-JP" altLang="en-US" kern="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563" y="1947610"/>
            <a:ext cx="288000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ja-JP" altLang="en-US" sz="1600" b="1" spc="-80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ホーム画面で</a:t>
            </a:r>
            <a:endParaRPr lang="en-US" altLang="ja-JP" sz="1600" b="1" spc="-80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r>
              <a:rPr lang="en-US" altLang="ja-JP" sz="1600" b="1" spc="-80" dirty="0">
                <a:latin typeface="メイリオ"/>
                <a:ea typeface="メイリオ"/>
                <a:cs typeface="IPAexGothic"/>
              </a:rPr>
              <a:t>｢Play</a:t>
            </a:r>
            <a:r>
              <a:rPr lang="ja-JP" altLang="en-US" sz="1600" b="1" spc="-80" dirty="0">
                <a:latin typeface="メイリオ"/>
                <a:ea typeface="メイリオ"/>
                <a:cs typeface="IPAexGothic"/>
              </a:rPr>
              <a:t>ストア</a:t>
            </a:r>
            <a:r>
              <a:rPr lang="en-US" altLang="ja-JP" sz="1600" b="1" spc="-80" dirty="0">
                <a:latin typeface="メイリオ"/>
                <a:ea typeface="メイリオ"/>
                <a:cs typeface="IPAexGothic"/>
              </a:rPr>
              <a:t>｣      </a:t>
            </a:r>
            <a:r>
              <a:rPr lang="ja-JP" altLang="en-US" sz="1600" b="1" spc="-80" dirty="0">
                <a:latin typeface="メイリオ"/>
                <a:ea typeface="メイリオ"/>
                <a:cs typeface="IPAexGothic"/>
              </a:rPr>
              <a:t>を押す</a:t>
            </a:r>
            <a:endParaRPr lang="ja-JP" altLang="en-US" sz="1600" b="1" dirty="0">
              <a:latin typeface="メイリオ"/>
              <a:ea typeface="メイリオ"/>
              <a:cs typeface="IPAexGothic"/>
            </a:endParaRPr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AE236636-3BDC-4D3E-BEBD-EFB93AB6F4C8}"/>
              </a:ext>
            </a:extLst>
          </p:cNvPr>
          <p:cNvSpPr txBox="1"/>
          <p:nvPr/>
        </p:nvSpPr>
        <p:spPr>
          <a:xfrm>
            <a:off x="513619" y="2211332"/>
            <a:ext cx="5292000" cy="1264065"/>
          </a:xfrm>
          <a:prstGeom prst="rect">
            <a:avLst/>
          </a:prstGeom>
        </p:spPr>
        <p:txBody>
          <a:bodyPr vert="horz" wrap="square" lIns="90000" tIns="46800" rIns="90000" bIns="46800" rtlCol="0">
            <a:spAutoFit/>
          </a:bodyPr>
          <a:lstStyle/>
          <a:p>
            <a:pPr marR="3258">
              <a:lnSpc>
                <a:spcPct val="12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Play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ス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ト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か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ら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は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色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々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なアプリ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が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入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手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で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き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、</a:t>
            </a:r>
            <a:endParaRPr lang="en-US" altLang="ja-JP" sz="1600" b="1" spc="-6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こ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こから入手できる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プ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リ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は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全て</a:t>
            </a:r>
            <a:r>
              <a:rPr lang="en-US" altLang="ja-JP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Google</a:t>
            </a:r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社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認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証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を</a:t>
            </a:r>
            <a:endParaRPr lang="en-US" altLang="ja-JP" sz="1600" b="1" spc="3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得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て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い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ま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す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で 安全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が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保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証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さ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れ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て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い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ま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す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。</a:t>
            </a:r>
            <a:endParaRPr lang="en-US" altLang="ja-JP" sz="1600" b="1" spc="3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R="3258">
              <a:lnSpc>
                <a:spcPct val="120000"/>
              </a:lnSpc>
            </a:pP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な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お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有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料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と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無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料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ア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プ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リが</a:t>
            </a:r>
            <a:r>
              <a:rPr lang="ja-JP" altLang="en-US" sz="1600" b="1" spc="-1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あ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り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ま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す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の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でご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注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意下</a:t>
            </a:r>
            <a:r>
              <a:rPr lang="ja-JP" altLang="en-US" sz="1600" b="1" spc="-6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さ</a:t>
            </a:r>
            <a:r>
              <a:rPr lang="ja-JP" altLang="en-US" sz="16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kiloji"/>
              </a:rPr>
              <a:t>い。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</p:txBody>
      </p:sp>
      <p:graphicFrame>
        <p:nvGraphicFramePr>
          <p:cNvPr id="92" name="object 7">
            <a:extLst>
              <a:ext uri="{FF2B5EF4-FFF2-40B4-BE49-F238E27FC236}">
                <a16:creationId xmlns:a16="http://schemas.microsoft.com/office/drawing/2014/main" id="{68C7B20D-4E06-4A73-BB9B-0B7DC60C7F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428112"/>
              </p:ext>
            </p:extLst>
          </p:nvPr>
        </p:nvGraphicFramePr>
        <p:xfrm>
          <a:off x="729333" y="4020808"/>
          <a:ext cx="5040000" cy="15077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43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27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3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0505"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イコン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700"/>
                        </a:lnSpc>
                        <a:spcBef>
                          <a:spcPts val="405"/>
                        </a:spcBef>
                        <a:tabLst/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概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700"/>
                        </a:lnSpc>
                        <a:spcBef>
                          <a:spcPts val="40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リ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32987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7256">
                <a:tc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</a:pP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7945" algn="l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en-US" altLang="ja-JP" sz="1200" b="1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Konatu"/>
                        </a:rPr>
                        <a:t>Play</a:t>
                      </a:r>
                      <a:r>
                        <a:rPr lang="ja-JP" altLang="en-US" sz="1200" b="1" spc="5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Konatu"/>
                        </a:rPr>
                        <a:t>ス</a:t>
                      </a:r>
                      <a:r>
                        <a:rPr lang="ja-JP" altLang="en-US" sz="1200" b="1" spc="10" dirty="0"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Konatu"/>
                        </a:rPr>
                        <a:t>トア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に行き、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プ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リ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（無料</a:t>
                      </a:r>
                      <a:r>
                        <a:rPr lang="ja-JP" altLang="en-US" sz="1200" b="1" i="0" spc="-750" baseline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）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を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7945" algn="l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インストールしてみましょう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5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Play</a:t>
                      </a:r>
                      <a:r>
                        <a:rPr lang="en-US" altLang="ja-JP" sz="1200" b="1" i="0" spc="-6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ス</a:t>
                      </a:r>
                      <a:r>
                        <a:rPr lang="ja-JP" altLang="en-US" sz="1200" b="1" i="0" spc="-15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ト</a:t>
                      </a:r>
                      <a:r>
                        <a:rPr lang="ja-JP" alt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ア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mr-IN" altLang="ja-JP" sz="1200" b="1" i="0" dirty="0" err="1">
                          <a:latin typeface="Meiryo" charset="-128"/>
                          <a:ea typeface="Meiryo" charset="-128"/>
                          <a:cs typeface="Meiryo" charset="-128"/>
                        </a:rPr>
                        <a:t>Google</a:t>
                      </a:r>
                      <a:endParaRPr lang="en-US" altLang="ja-JP"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(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Ver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3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5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6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.1</a:t>
                      </a: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1</a:t>
                      </a:r>
                      <a:r>
                        <a:rPr lang="mr-IN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-21)</a:t>
                      </a: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155"/>
                        </a:spcBef>
                      </a:pPr>
                      <a:r>
                        <a:rPr lang="en-US" altLang="ja-JP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 </a:t>
                      </a:r>
                      <a:r>
                        <a:rPr lang="ja-JP" altLang="mr-IN" sz="1200" b="1" i="0" dirty="0">
                          <a:latin typeface="Meiryo" charset="-128"/>
                          <a:ea typeface="Meiryo" charset="-128"/>
                          <a:cs typeface="Meiryo" charset="-128"/>
                        </a:rPr>
                        <a:t>無料</a:t>
                      </a:r>
                      <a:endParaRPr sz="1200" b="1" i="0" dirty="0">
                        <a:latin typeface="Meiryo" charset="-128"/>
                        <a:ea typeface="Meiryo" charset="-128"/>
                        <a:cs typeface="Meiryo" charset="-128"/>
                      </a:endParaRPr>
                    </a:p>
                  </a:txBody>
                  <a:tcPr marL="0" marR="0" marT="1262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C059D5A6-1E72-C549-0E89-4930D0FC3D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4399" y="2721672"/>
            <a:ext cx="1534337" cy="3204117"/>
          </a:xfrm>
          <a:prstGeom prst="rect">
            <a:avLst/>
          </a:prstGeom>
        </p:spPr>
      </p:pic>
      <p:pic>
        <p:nvPicPr>
          <p:cNvPr id="11" name="図 10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E58D23F0-7CFC-E17F-2A54-6F08942FF0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5213" y="4459440"/>
            <a:ext cx="935110" cy="918704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AE350A39-F134-DD23-0E69-C25EFCB83710}"/>
              </a:ext>
            </a:extLst>
          </p:cNvPr>
          <p:cNvSpPr/>
          <p:nvPr/>
        </p:nvSpPr>
        <p:spPr>
          <a:xfrm>
            <a:off x="6945890" y="4586360"/>
            <a:ext cx="362414" cy="38248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4" name="図形グループ 21">
            <a:extLst>
              <a:ext uri="{FF2B5EF4-FFF2-40B4-BE49-F238E27FC236}">
                <a16:creationId xmlns:a16="http://schemas.microsoft.com/office/drawing/2014/main" id="{1B59008E-D607-F5CF-A957-A3C90C389EF2}"/>
              </a:ext>
            </a:extLst>
          </p:cNvPr>
          <p:cNvGrpSpPr/>
          <p:nvPr/>
        </p:nvGrpSpPr>
        <p:grpSpPr>
          <a:xfrm>
            <a:off x="6734744" y="4378059"/>
            <a:ext cx="296587" cy="293005"/>
            <a:chOff x="2897417" y="3995693"/>
            <a:chExt cx="296587" cy="293005"/>
          </a:xfrm>
        </p:grpSpPr>
        <p:sp>
          <p:nvSpPr>
            <p:cNvPr id="16" name="円/楕円 22">
              <a:extLst>
                <a:ext uri="{FF2B5EF4-FFF2-40B4-BE49-F238E27FC236}">
                  <a16:creationId xmlns:a16="http://schemas.microsoft.com/office/drawing/2014/main" id="{59D85A9B-BBE0-59DA-9E88-C5CEABB77EA8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2BE110DA-E181-7531-20A3-DF49361A9A90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" name="図 2" descr="ロゴ が含まれている画像&#10;&#10;自動的に生成された説明">
            <a:extLst>
              <a:ext uri="{FF2B5EF4-FFF2-40B4-BE49-F238E27FC236}">
                <a16:creationId xmlns:a16="http://schemas.microsoft.com/office/drawing/2014/main" id="{F8CA1EC6-1C3F-559E-BE05-21E1CA4667D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84685" y="2206658"/>
            <a:ext cx="269359" cy="264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637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F142E4F-C1FC-4ED3-DAC5-2D03C07FDD5F}"/>
              </a:ext>
            </a:extLst>
          </p:cNvPr>
          <p:cNvSpPr txBox="1"/>
          <p:nvPr/>
        </p:nvSpPr>
        <p:spPr>
          <a:xfrm>
            <a:off x="3500157" y="1841186"/>
            <a:ext cx="288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500" b="1" kern="100" spc="-16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マイナポータル</a:t>
            </a:r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と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入力し検索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5" name="図 34" descr="「インストール」ボタンが表示されたアプリの紹介画面の画像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8834" y="2704729"/>
            <a:ext cx="1642826" cy="342469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「Playストア」のホーム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823" y="2704729"/>
            <a:ext cx="1651434" cy="340042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図 2" descr="「開く」ボタンが表示されたアプリのインストール完了画面の画像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548" y="2716862"/>
            <a:ext cx="1642826" cy="342469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716093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名前から</a:t>
            </a:r>
            <a:r>
              <a:rPr lang="ja-JP" altLang="en-US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インストール</a:t>
            </a:r>
            <a:endParaRPr kumimoji="0" lang="ja-JP" altLang="en-US" kern="0" spc="-150" dirty="0"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インストールしたいアプリの名前が分かっている場合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00157" y="2393697"/>
            <a:ext cx="2880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</a:t>
            </a:r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ン</a:t>
            </a:r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ス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ト</a:t>
            </a:r>
            <a:r>
              <a:rPr lang="ja-JP" altLang="en-US" sz="1500" b="1" spc="-35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ー</a:t>
            </a:r>
            <a:r>
              <a:rPr lang="ja-JP" altLang="en-US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ル</a:t>
            </a:r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0999" y="22590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97194" y="224684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0495" y="2366703"/>
            <a:ext cx="252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ボックス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986040" y="17801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9" name="テキスト ボックス 9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40380" y="1841186"/>
            <a:ext cx="2880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が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完了</a:t>
            </a:r>
            <a:r>
              <a:rPr lang="ja-JP" altLang="en-US" sz="1500" b="1" spc="1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したら</a:t>
            </a:r>
            <a:r>
              <a:rPr lang="en-US" altLang="ja-JP" sz="15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開く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5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endParaRPr lang="en-US" altLang="ja-JP" sz="1500" b="1" spc="22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5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と</a:t>
            </a:r>
            <a:r>
              <a:rPr lang="ja-JP" altLang="en-US" sz="1500" b="1" spc="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ア</a:t>
            </a:r>
            <a:r>
              <a:rPr lang="ja-JP" altLang="en-US" sz="15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プ</a:t>
            </a:r>
            <a:r>
              <a:rPr lang="ja-JP" altLang="en-US" sz="1500" b="1" spc="-1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リが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起動</a:t>
            </a:r>
            <a:endParaRPr lang="ja-JP" altLang="en-US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97194" y="178017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8" name="図 5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B3F69D19-982D-49AA-8381-00403FBE584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60" t="13264" r="1864" b="73364"/>
          <a:stretch/>
        </p:blipFill>
        <p:spPr>
          <a:xfrm>
            <a:off x="7434724" y="3146312"/>
            <a:ext cx="697656" cy="457200"/>
          </a:xfrm>
          <a:prstGeom prst="rect">
            <a:avLst/>
          </a:prstGeom>
          <a:ln>
            <a:noFill/>
          </a:ln>
        </p:spPr>
      </p:pic>
      <p:pic>
        <p:nvPicPr>
          <p:cNvPr id="90" name="図 89" descr="検索ボックスに表示された「マイナポータル」を表示した画像">
            <a:extLst>
              <a:ext uri="{FF2B5EF4-FFF2-40B4-BE49-F238E27FC236}">
                <a16:creationId xmlns:a16="http://schemas.microsoft.com/office/drawing/2014/main" id="{07A99C13-2255-4555-AE08-5396174A45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8156" y="4035241"/>
            <a:ext cx="2195463" cy="209586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7" name="正方形/長方形 36"/>
          <p:cNvSpPr>
            <a:spLocks/>
          </p:cNvSpPr>
          <p:nvPr/>
        </p:nvSpPr>
        <p:spPr>
          <a:xfrm>
            <a:off x="1251309" y="2867513"/>
            <a:ext cx="979903" cy="2718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4" name="正方形/長方形 43"/>
          <p:cNvSpPr>
            <a:spLocks/>
          </p:cNvSpPr>
          <p:nvPr/>
        </p:nvSpPr>
        <p:spPr>
          <a:xfrm>
            <a:off x="1222188" y="4065404"/>
            <a:ext cx="1134643" cy="216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正方形/長方形 44"/>
          <p:cNvSpPr>
            <a:spLocks/>
          </p:cNvSpPr>
          <p:nvPr/>
        </p:nvSpPr>
        <p:spPr>
          <a:xfrm>
            <a:off x="4678958" y="3247595"/>
            <a:ext cx="619563" cy="245321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正方形/長方形 45"/>
          <p:cNvSpPr>
            <a:spLocks/>
          </p:cNvSpPr>
          <p:nvPr/>
        </p:nvSpPr>
        <p:spPr>
          <a:xfrm>
            <a:off x="7628380" y="3224666"/>
            <a:ext cx="504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3" name="図形グループ 62"/>
          <p:cNvGrpSpPr/>
          <p:nvPr/>
        </p:nvGrpSpPr>
        <p:grpSpPr>
          <a:xfrm>
            <a:off x="7335055" y="3061432"/>
            <a:ext cx="296586" cy="293005"/>
            <a:chOff x="5878361" y="3995693"/>
            <a:chExt cx="296586" cy="293005"/>
          </a:xfrm>
        </p:grpSpPr>
        <p:sp>
          <p:nvSpPr>
            <p:cNvPr id="64" name="円/楕円 63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5" name="フリーフォーム 64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4516176" y="3060527"/>
            <a:ext cx="296586" cy="293005"/>
            <a:chOff x="5101121" y="3995693"/>
            <a:chExt cx="296586" cy="293005"/>
          </a:xfrm>
        </p:grpSpPr>
        <p:sp>
          <p:nvSpPr>
            <p:cNvPr id="69" name="円/楕円 68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フリーフォーム 7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77" name="図形グループ 76"/>
          <p:cNvGrpSpPr/>
          <p:nvPr/>
        </p:nvGrpSpPr>
        <p:grpSpPr>
          <a:xfrm>
            <a:off x="996610" y="3842741"/>
            <a:ext cx="296586" cy="293005"/>
            <a:chOff x="4232441" y="3995693"/>
            <a:chExt cx="296586" cy="293005"/>
          </a:xfrm>
        </p:grpSpPr>
        <p:sp>
          <p:nvSpPr>
            <p:cNvPr id="78" name="円/楕円 7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フリーフォーム 7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0" name="図形グループ 79"/>
          <p:cNvGrpSpPr/>
          <p:nvPr/>
        </p:nvGrpSpPr>
        <p:grpSpPr>
          <a:xfrm>
            <a:off x="991834" y="2685112"/>
            <a:ext cx="296586" cy="293005"/>
            <a:chOff x="3546641" y="3995693"/>
            <a:chExt cx="296586" cy="293005"/>
          </a:xfrm>
        </p:grpSpPr>
        <p:sp>
          <p:nvSpPr>
            <p:cNvPr id="81" name="円/楕円 8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フリーフォーム 8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7598341A-92F6-F4DB-D05D-EA8240A2CD79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ECA21E0A-2401-BBDA-D291-9B10F75AA59A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2" name="矢印: 右 11">
            <a:extLst>
              <a:ext uri="{FF2B5EF4-FFF2-40B4-BE49-F238E27FC236}">
                <a16:creationId xmlns:a16="http://schemas.microsoft.com/office/drawing/2014/main" id="{2E61C505-AD62-8C88-FB62-79E09B51DEB3}"/>
              </a:ext>
            </a:extLst>
          </p:cNvPr>
          <p:cNvSpPr/>
          <p:nvPr/>
        </p:nvSpPr>
        <p:spPr>
          <a:xfrm rot="5400000">
            <a:off x="1444812" y="3385385"/>
            <a:ext cx="448532" cy="30690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0B037F45-EA83-522D-8EC2-F74E03D0F44F}"/>
              </a:ext>
            </a:extLst>
          </p:cNvPr>
          <p:cNvSpPr txBox="1"/>
          <p:nvPr/>
        </p:nvSpPr>
        <p:spPr>
          <a:xfrm>
            <a:off x="370999" y="1818831"/>
            <a:ext cx="2679247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altLang="ja-JP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(</a:t>
            </a:r>
            <a:r>
              <a:rPr lang="ja-JP" altLang="en-US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例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)「</a:t>
            </a:r>
            <a:r>
              <a:rPr lang="en-US" altLang="ja-JP" sz="1400" b="1" kern="100" dirty="0" err="1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マイナポータル</a:t>
            </a:r>
            <a:r>
              <a:rPr lang="en-US" altLang="ja-JP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」</a:t>
            </a:r>
          </a:p>
          <a:p>
            <a:r>
              <a:rPr lang="ja-JP" altLang="en-US" sz="1400" b="1" kern="100" dirty="0">
                <a:solidFill>
                  <a:srgbClr val="009650"/>
                </a:solidFill>
                <a:latin typeface="メイリオ"/>
                <a:ea typeface="メイリオ"/>
                <a:cs typeface="Times New Roman"/>
              </a:rPr>
              <a:t>　　　をインストールする場合</a:t>
            </a:r>
            <a:endParaRPr lang="en-US" altLang="ja-JP" sz="1400" b="1" kern="100" dirty="0">
              <a:solidFill>
                <a:srgbClr val="009650"/>
              </a:solidFill>
              <a:latin typeface="メイリオ"/>
              <a:ea typeface="メイリオ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870005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32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 descr="「インストール」ボタンが表示されたアプリの紹介画面の画像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1942" y="2970418"/>
            <a:ext cx="1618686" cy="28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5" name="図 124" descr="「Playストア」のホーム画面の画像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101" y="2984703"/>
            <a:ext cx="1620000" cy="28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みる。</a:t>
            </a:r>
            <a:endParaRPr lang="ja-JP" altLang="en-US" sz="16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カテゴリの画面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が表示されたら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ツール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10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860920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86091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カテゴリ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押す</a:t>
            </a:r>
            <a:endParaRPr lang="ja-JP" altLang="en-US" sz="1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目的の</a:t>
            </a:r>
            <a:endParaRPr lang="en-US" altLang="ja-JP" sz="1600" b="1" spc="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マイナ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ポータル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アプリ</a:t>
            </a:r>
            <a:r>
              <a:rPr lang="ja-JP" altLang="en-US" sz="16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86091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6822" y="2531156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3" name="テキスト ボックス 12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19362" y="5872362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spc="-16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以降は前のページと同じです</a:t>
            </a:r>
            <a:endParaRPr lang="ja-JP" altLang="en-US" sz="10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67718" y="207278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プリの追加の仕方</a:t>
            </a:r>
            <a:br>
              <a:rPr kumimoji="0" lang="ja-JP" altLang="en-US" sz="1800" kern="0" dirty="0"/>
            </a:b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テゴリから探してインストール</a:t>
            </a:r>
            <a:endParaRPr kumimoji="0" lang="ja-JP" altLang="en-US" kern="0" dirty="0"/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22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endParaRPr lang="en-US" altLang="ja-JP" sz="1600" b="1" spc="22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押し</a:t>
            </a:r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て</a:t>
            </a:r>
            <a:endParaRPr lang="en-US" altLang="ja-JP" sz="1600" b="1" spc="-3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r>
              <a:rPr lang="ja-JP" altLang="en-US" sz="1600" b="1" spc="-3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インストール開始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81060" y="1854461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正方形/長方形 141"/>
          <p:cNvSpPr/>
          <p:nvPr/>
        </p:nvSpPr>
        <p:spPr>
          <a:xfrm>
            <a:off x="1101798" y="3295189"/>
            <a:ext cx="54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6" name="正方形/長方形 145"/>
          <p:cNvSpPr/>
          <p:nvPr/>
        </p:nvSpPr>
        <p:spPr>
          <a:xfrm>
            <a:off x="1048296" y="5347437"/>
            <a:ext cx="54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47" name="図形グループ 14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843741" y="5129407"/>
            <a:ext cx="492443" cy="461665"/>
            <a:chOff x="7516281" y="2673548"/>
            <a:chExt cx="492443" cy="461665"/>
          </a:xfrm>
        </p:grpSpPr>
        <p:sp>
          <p:nvSpPr>
            <p:cNvPr id="148" name="円/楕円 14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9" name="正方形/長方形 14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9" name="正方形/長方形 58"/>
          <p:cNvSpPr/>
          <p:nvPr/>
        </p:nvSpPr>
        <p:spPr>
          <a:xfrm>
            <a:off x="7806902" y="3373176"/>
            <a:ext cx="792000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7655696" y="3224187"/>
            <a:ext cx="296586" cy="293005"/>
            <a:chOff x="5878361" y="3995693"/>
            <a:chExt cx="296586" cy="293005"/>
          </a:xfrm>
        </p:grpSpPr>
        <p:sp>
          <p:nvSpPr>
            <p:cNvPr id="73" name="円/楕円 72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フリーフォーム 73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" name="グループ化 5" descr="アプリ一覧の中から｢マイナポータル｣アプリをタップしている画像">
            <a:extLst>
              <a:ext uri="{FF2B5EF4-FFF2-40B4-BE49-F238E27FC236}">
                <a16:creationId xmlns:a16="http://schemas.microsoft.com/office/drawing/2014/main" id="{A506C9C3-8C34-48E9-9D95-E779C1547B32}"/>
              </a:ext>
            </a:extLst>
          </p:cNvPr>
          <p:cNvGrpSpPr/>
          <p:nvPr/>
        </p:nvGrpSpPr>
        <p:grpSpPr>
          <a:xfrm>
            <a:off x="4770211" y="2970418"/>
            <a:ext cx="1703205" cy="2880000"/>
            <a:chOff x="4860032" y="2970418"/>
            <a:chExt cx="1703205" cy="2880000"/>
          </a:xfrm>
        </p:grpSpPr>
        <p:pic>
          <p:nvPicPr>
            <p:cNvPr id="3" name="図 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5173" y="2970418"/>
              <a:ext cx="1618064" cy="288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3" name="正方形/長方形 52"/>
            <p:cNvSpPr/>
            <p:nvPr/>
          </p:nvSpPr>
          <p:spPr>
            <a:xfrm>
              <a:off x="5004216" y="4161664"/>
              <a:ext cx="1512000" cy="324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64" name="図 63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5921309" y="4237337"/>
              <a:ext cx="473301" cy="540000"/>
            </a:xfrm>
            <a:prstGeom prst="rect">
              <a:avLst/>
            </a:prstGeom>
          </p:spPr>
        </p:pic>
        <p:grpSp>
          <p:nvGrpSpPr>
            <p:cNvPr id="75" name="図形グループ 74"/>
            <p:cNvGrpSpPr/>
            <p:nvPr/>
          </p:nvGrpSpPr>
          <p:grpSpPr>
            <a:xfrm>
              <a:off x="4860032" y="4016275"/>
              <a:ext cx="296586" cy="293005"/>
              <a:chOff x="5101121" y="3995693"/>
              <a:chExt cx="296586" cy="293005"/>
            </a:xfrm>
          </p:grpSpPr>
          <p:sp>
            <p:nvSpPr>
              <p:cNvPr id="76" name="円/楕円 75"/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7" name="フリーフォーム 76"/>
              <p:cNvSpPr/>
              <p:nvPr/>
            </p:nvSpPr>
            <p:spPr>
              <a:xfrm>
                <a:off x="510112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2" name="グループ化 1" descr="カテゴリの画面の中から｢ツール｣をタップしている画像">
            <a:extLst>
              <a:ext uri="{FF2B5EF4-FFF2-40B4-BE49-F238E27FC236}">
                <a16:creationId xmlns:a16="http://schemas.microsoft.com/office/drawing/2014/main" id="{EBB6C5DF-D7E6-4BE9-9790-B990E3969971}"/>
              </a:ext>
            </a:extLst>
          </p:cNvPr>
          <p:cNvGrpSpPr/>
          <p:nvPr/>
        </p:nvGrpSpPr>
        <p:grpSpPr>
          <a:xfrm>
            <a:off x="2692124" y="2984703"/>
            <a:ext cx="1724220" cy="2880000"/>
            <a:chOff x="2851900" y="2974514"/>
            <a:chExt cx="1724220" cy="2880000"/>
          </a:xfrm>
        </p:grpSpPr>
        <p:pic>
          <p:nvPicPr>
            <p:cNvPr id="89" name="図 88">
              <a:extLst>
                <a:ext uri="{FF2B5EF4-FFF2-40B4-BE49-F238E27FC236}">
                  <a16:creationId xmlns:a16="http://schemas.microsoft.com/office/drawing/2014/main" id="{DBE0FDDB-D7EE-4E85-AFFD-0E0103BFDA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6120" y="2974514"/>
              <a:ext cx="1620000" cy="288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38" name="正方形/長方形 137"/>
            <p:cNvSpPr/>
            <p:nvPr/>
          </p:nvSpPr>
          <p:spPr>
            <a:xfrm>
              <a:off x="2996941" y="3321024"/>
              <a:ext cx="1512000" cy="324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50" name="図 149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3467890" y="3453488"/>
              <a:ext cx="473301" cy="540000"/>
            </a:xfrm>
            <a:prstGeom prst="rect">
              <a:avLst/>
            </a:prstGeom>
          </p:spPr>
        </p:pic>
        <p:grpSp>
          <p:nvGrpSpPr>
            <p:cNvPr id="81" name="図形グループ 80"/>
            <p:cNvGrpSpPr/>
            <p:nvPr/>
          </p:nvGrpSpPr>
          <p:grpSpPr>
            <a:xfrm>
              <a:off x="2851900" y="3168363"/>
              <a:ext cx="296586" cy="293005"/>
              <a:chOff x="4232441" y="3995693"/>
              <a:chExt cx="296586" cy="293005"/>
            </a:xfrm>
          </p:grpSpPr>
          <p:sp>
            <p:nvSpPr>
              <p:cNvPr id="82" name="円/楕円 81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3" name="フリーフォーム 82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4" name="図形グループ 83"/>
          <p:cNvGrpSpPr/>
          <p:nvPr/>
        </p:nvGrpSpPr>
        <p:grpSpPr>
          <a:xfrm>
            <a:off x="948117" y="3113816"/>
            <a:ext cx="296586" cy="293005"/>
            <a:chOff x="3546641" y="3995693"/>
            <a:chExt cx="296586" cy="293005"/>
          </a:xfrm>
        </p:grpSpPr>
        <p:sp>
          <p:nvSpPr>
            <p:cNvPr id="85" name="円/楕円 84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6" name="フリーフォーム 8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7" name="矢印: 右 6">
            <a:extLst>
              <a:ext uri="{FF2B5EF4-FFF2-40B4-BE49-F238E27FC236}">
                <a16:creationId xmlns:a16="http://schemas.microsoft.com/office/drawing/2014/main" id="{7EC3B588-16A6-87B9-762D-A2D5CB5823C6}"/>
              </a:ext>
            </a:extLst>
          </p:cNvPr>
          <p:cNvSpPr/>
          <p:nvPr/>
        </p:nvSpPr>
        <p:spPr>
          <a:xfrm>
            <a:off x="2363789" y="3761524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8BBF0BC-28DF-F056-AF32-11B22239223B}"/>
              </a:ext>
            </a:extLst>
          </p:cNvPr>
          <p:cNvSpPr/>
          <p:nvPr/>
        </p:nvSpPr>
        <p:spPr>
          <a:xfrm>
            <a:off x="4430264" y="3752850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4DA41078-1870-FCDE-426C-8AEEAF59E929}"/>
              </a:ext>
            </a:extLst>
          </p:cNvPr>
          <p:cNvSpPr/>
          <p:nvPr/>
        </p:nvSpPr>
        <p:spPr>
          <a:xfrm>
            <a:off x="6511105" y="3761524"/>
            <a:ext cx="388867" cy="282648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553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iPhone</a:t>
            </a:r>
            <a:r>
              <a:rPr lang="ja-JP" altLang="en-US" sz="4800" dirty="0">
                <a:solidFill>
                  <a:srgbClr val="009650"/>
                </a:solidFill>
              </a:rPr>
              <a:t>の場合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スマートフォンを使っている猫のキャラクター">
            <a:extLst>
              <a:ext uri="{FF2B5EF4-FFF2-40B4-BE49-F238E27FC236}">
                <a16:creationId xmlns:a16="http://schemas.microsoft.com/office/drawing/2014/main" id="{C31B8183-11BF-46C7-A556-A8F557AE45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68" y="4221088"/>
            <a:ext cx="1629836" cy="17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1DF1DCF-F855-44CE-85CC-A5B85AC41BD0}"/>
</file>

<file path=customXml/itemProps2.xml><?xml version="1.0" encoding="utf-8"?>
<ds:datastoreItem xmlns:ds="http://schemas.openxmlformats.org/officeDocument/2006/customXml" ds:itemID="{DF9E89BB-BD4E-420A-B282-DFBC2E5EEED0}">
  <ds:schemaRefs>
    <ds:schemaRef ds:uri="079a4871-f4a2-4665-9954-203da50962a5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2c894bec-798d-4cf3-95d8-8ea6401a7b86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58</Words>
  <Application>Microsoft Office PowerPoint</Application>
  <PresentationFormat>画面に合わせる (4:3)</PresentationFormat>
  <Paragraphs>182</Paragraphs>
  <Slides>14</Slides>
  <Notes>14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4</vt:i4>
      </vt:variant>
    </vt:vector>
  </HeadingPairs>
  <TitlesOfParts>
    <vt:vector size="26" baseType="lpstr">
      <vt:lpstr>Meiryo</vt:lpstr>
      <vt:lpstr>Meiryo</vt:lpstr>
      <vt:lpstr>Yu Gothic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 インストールとは</vt:lpstr>
      <vt:lpstr>PowerPoint プレゼンテーション</vt:lpstr>
      <vt:lpstr>アプリの追加の仕方 Playストアからインストール</vt:lpstr>
      <vt:lpstr>アプリの追加の仕方 アプリの名前から探してインストール</vt:lpstr>
      <vt:lpstr>アプリの追加の仕方 カテゴリから探してインストール</vt:lpstr>
      <vt:lpstr>PowerPoint プレゼンテーション</vt:lpstr>
      <vt:lpstr>アプリの追加の仕方 App Storeからインストール</vt:lpstr>
      <vt:lpstr>アプリの追加の仕方 アプリの名前から探してインストール</vt:lpstr>
      <vt:lpstr>アプリの追加の仕方 アプリの名前から探してインストール</vt:lpstr>
      <vt:lpstr>アプリの追加の仕方 カテゴリから探してインストール</vt:lpstr>
      <vt:lpstr>アプリの追加の仕方 カテゴリから探してインストール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88</cp:revision>
  <dcterms:created xsi:type="dcterms:W3CDTF">2021-08-16T09:05:36Z</dcterms:created>
  <dcterms:modified xsi:type="dcterms:W3CDTF">2024-10-02T02:3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MediaServiceImageTags">
    <vt:lpwstr/>
  </property>
  <property fmtid="{D5CDD505-2E9C-101B-9397-08002B2CF9AE}" pid="4" name="Order">
    <vt:r8>199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_SourceUrl">
    <vt:lpwstr/>
  </property>
  <property fmtid="{D5CDD505-2E9C-101B-9397-08002B2CF9AE}" pid="12" name="_SharedFileIndex">
    <vt:lpwstr/>
  </property>
</Properties>
</file>